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9"/>
  </p:notesMasterIdLst>
  <p:handoutMasterIdLst>
    <p:handoutMasterId r:id="rId10"/>
  </p:handoutMasterIdLst>
  <p:sldIdLst>
    <p:sldId id="256" r:id="rId4"/>
    <p:sldId id="321" r:id="rId5"/>
    <p:sldId id="346" r:id="rId6"/>
    <p:sldId id="344" r:id="rId7"/>
    <p:sldId id="345" r:id="rId8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327" autoAdjust="0"/>
  </p:normalViewPr>
  <p:slideViewPr>
    <p:cSldViewPr showGuides="1">
      <p:cViewPr>
        <p:scale>
          <a:sx n="60" d="100"/>
          <a:sy n="60" d="100"/>
        </p:scale>
        <p:origin x="1920" y="259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rson Santos" userId="6c4494c9-e300-475e-8570-19c96c3d8172" providerId="ADAL" clId="{D4EC3150-327C-4688-8FC6-2CAE0B207AE9}"/>
    <pc:docChg chg="modSld">
      <pc:chgData name="Gerson Santos" userId="6c4494c9-e300-475e-8570-19c96c3d8172" providerId="ADAL" clId="{D4EC3150-327C-4688-8FC6-2CAE0B207AE9}" dt="2019-07-30T16:10:42.336" v="16" actId="20577"/>
      <pc:docMkLst>
        <pc:docMk/>
      </pc:docMkLst>
      <pc:sldChg chg="modSp">
        <pc:chgData name="Gerson Santos" userId="6c4494c9-e300-475e-8570-19c96c3d8172" providerId="ADAL" clId="{D4EC3150-327C-4688-8FC6-2CAE0B207AE9}" dt="2019-07-30T16:10:42.336" v="16" actId="20577"/>
        <pc:sldMkLst>
          <pc:docMk/>
          <pc:sldMk cId="3555918169" sldId="321"/>
        </pc:sldMkLst>
        <pc:spChg chg="mod">
          <ac:chgData name="Gerson Santos" userId="6c4494c9-e300-475e-8570-19c96c3d8172" providerId="ADAL" clId="{D4EC3150-327C-4688-8FC6-2CAE0B207AE9}" dt="2019-07-30T16:10:42.336" v="16" actId="20577"/>
          <ac:spMkLst>
            <pc:docMk/>
            <pc:sldMk cId="3555918169" sldId="321"/>
            <ac:spMk id="5" creationId="{00000000-0000-0000-0000-000000000000}"/>
          </ac:spMkLst>
        </pc:spChg>
      </pc:sldChg>
    </pc:docChg>
  </pc:docChgLst>
  <pc:docChgLst>
    <pc:chgData name="Gerson Santos" userId="6c4494c9-e300-475e-8570-19c96c3d8172" providerId="ADAL" clId="{B23C8B40-AD8D-4E56-93BA-25514E5730F6}"/>
    <pc:docChg chg="modSld">
      <pc:chgData name="Gerson Santos" userId="6c4494c9-e300-475e-8570-19c96c3d8172" providerId="ADAL" clId="{B23C8B40-AD8D-4E56-93BA-25514E5730F6}" dt="2020-02-06T21:46:05.143" v="127"/>
      <pc:docMkLst>
        <pc:docMk/>
      </pc:docMkLst>
      <pc:sldChg chg="addSp modSp">
        <pc:chgData name="Gerson Santos" userId="6c4494c9-e300-475e-8570-19c96c3d8172" providerId="ADAL" clId="{B23C8B40-AD8D-4E56-93BA-25514E5730F6}" dt="2020-02-06T21:46:05.143" v="127"/>
        <pc:sldMkLst>
          <pc:docMk/>
          <pc:sldMk cId="220032209" sldId="344"/>
        </pc:sldMkLst>
        <pc:spChg chg="mod">
          <ac:chgData name="Gerson Santos" userId="6c4494c9-e300-475e-8570-19c96c3d8172" providerId="ADAL" clId="{B23C8B40-AD8D-4E56-93BA-25514E5730F6}" dt="2020-02-06T21:44:20.589" v="26" actId="20577"/>
          <ac:spMkLst>
            <pc:docMk/>
            <pc:sldMk cId="220032209" sldId="344"/>
            <ac:spMk id="11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6:04.036" v="126" actId="1076"/>
          <ac:spMkLst>
            <pc:docMk/>
            <pc:sldMk cId="220032209" sldId="344"/>
            <ac:spMk id="13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4:36.572" v="50" actId="20577"/>
          <ac:spMkLst>
            <pc:docMk/>
            <pc:sldMk cId="220032209" sldId="344"/>
            <ac:spMk id="16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5:24.118" v="107" actId="20577"/>
          <ac:spMkLst>
            <pc:docMk/>
            <pc:sldMk cId="220032209" sldId="344"/>
            <ac:spMk id="17" creationId="{4997F601-006F-4BC7-9604-88E30DA500D9}"/>
          </ac:spMkLst>
        </pc:spChg>
        <pc:spChg chg="add">
          <ac:chgData name="Gerson Santos" userId="6c4494c9-e300-475e-8570-19c96c3d8172" providerId="ADAL" clId="{B23C8B40-AD8D-4E56-93BA-25514E5730F6}" dt="2020-02-06T21:46:05.143" v="127"/>
          <ac:spMkLst>
            <pc:docMk/>
            <pc:sldMk cId="220032209" sldId="344"/>
            <ac:spMk id="19" creationId="{EA04D008-B1AB-4DD1-889C-7079A8EF0260}"/>
          </ac:spMkLst>
        </pc:spChg>
        <pc:spChg chg="add">
          <ac:chgData name="Gerson Santos" userId="6c4494c9-e300-475e-8570-19c96c3d8172" providerId="ADAL" clId="{B23C8B40-AD8D-4E56-93BA-25514E5730F6}" dt="2020-02-06T21:46:05.143" v="127"/>
          <ac:spMkLst>
            <pc:docMk/>
            <pc:sldMk cId="220032209" sldId="344"/>
            <ac:spMk id="20" creationId="{A5748D94-CA9A-4C22-AA62-310CEB4FAD29}"/>
          </ac:spMkLst>
        </pc:spChg>
        <pc:spChg chg="mod">
          <ac:chgData name="Gerson Santos" userId="6c4494c9-e300-475e-8570-19c96c3d8172" providerId="ADAL" clId="{B23C8B40-AD8D-4E56-93BA-25514E5730F6}" dt="2020-02-06T21:44:47.551" v="68" actId="20577"/>
          <ac:spMkLst>
            <pc:docMk/>
            <pc:sldMk cId="220032209" sldId="344"/>
            <ac:spMk id="26" creationId="{4997F601-006F-4BC7-9604-88E30DA500D9}"/>
          </ac:spMkLst>
        </pc:spChg>
        <pc:spChg chg="mod">
          <ac:chgData name="Gerson Santos" userId="6c4494c9-e300-475e-8570-19c96c3d8172" providerId="ADAL" clId="{B23C8B40-AD8D-4E56-93BA-25514E5730F6}" dt="2020-02-06T21:45:44.970" v="125" actId="20577"/>
          <ac:spMkLst>
            <pc:docMk/>
            <pc:sldMk cId="220032209" sldId="344"/>
            <ac:spMk id="27" creationId="{4997F601-006F-4BC7-9604-88E30DA500D9}"/>
          </ac:spMkLst>
        </pc:spChg>
      </pc:sldChg>
      <pc:sldChg chg="modSp">
        <pc:chgData name="Gerson Santos" userId="6c4494c9-e300-475e-8570-19c96c3d8172" providerId="ADAL" clId="{B23C8B40-AD8D-4E56-93BA-25514E5730F6}" dt="2020-02-06T18:06:52.837" v="3" actId="20577"/>
        <pc:sldMkLst>
          <pc:docMk/>
          <pc:sldMk cId="4208443087" sldId="346"/>
        </pc:sldMkLst>
        <pc:spChg chg="mod">
          <ac:chgData name="Gerson Santos" userId="6c4494c9-e300-475e-8570-19c96c3d8172" providerId="ADAL" clId="{B23C8B40-AD8D-4E56-93BA-25514E5730F6}" dt="2020-02-06T18:06:52.837" v="3" actId="20577"/>
          <ac:spMkLst>
            <pc:docMk/>
            <pc:sldMk cId="4208443087" sldId="346"/>
            <ac:spMk id="5" creationId="{00000000-0000-0000-0000-000000000000}"/>
          </ac:spMkLst>
        </pc:spChg>
      </pc:sldChg>
    </pc:docChg>
  </pc:docChgLst>
  <pc:docChgLst>
    <pc:chgData name="Gerson" userId="6c4494c9-e300-475e-8570-19c96c3d8172" providerId="ADAL" clId="{D79A2BF3-94A2-4C37-B9BC-A6A77EA4B07A}"/>
    <pc:docChg chg="custSel modSld">
      <pc:chgData name="Gerson" userId="6c4494c9-e300-475e-8570-19c96c3d8172" providerId="ADAL" clId="{D79A2BF3-94A2-4C37-B9BC-A6A77EA4B07A}" dt="2020-08-07T18:00:31.967" v="116" actId="20577"/>
      <pc:docMkLst>
        <pc:docMk/>
      </pc:docMkLst>
      <pc:sldChg chg="delSp modSp mod">
        <pc:chgData name="Gerson" userId="6c4494c9-e300-475e-8570-19c96c3d8172" providerId="ADAL" clId="{D79A2BF3-94A2-4C37-B9BC-A6A77EA4B07A}" dt="2020-08-07T18:00:07.768" v="96" actId="20577"/>
        <pc:sldMkLst>
          <pc:docMk/>
          <pc:sldMk cId="220032209" sldId="344"/>
        </pc:sldMkLst>
        <pc:spChg chg="mod">
          <ac:chgData name="Gerson" userId="6c4494c9-e300-475e-8570-19c96c3d8172" providerId="ADAL" clId="{D79A2BF3-94A2-4C37-B9BC-A6A77EA4B07A}" dt="2020-08-07T17:59:29.423" v="68" actId="1036"/>
          <ac:spMkLst>
            <pc:docMk/>
            <pc:sldMk cId="220032209" sldId="344"/>
            <ac:spMk id="11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8:00:07.768" v="96" actId="20577"/>
          <ac:spMkLst>
            <pc:docMk/>
            <pc:sldMk cId="220032209" sldId="344"/>
            <ac:spMk id="12" creationId="{00000000-0000-0000-0000-000000000000}"/>
          </ac:spMkLst>
        </pc:spChg>
        <pc:spChg chg="mod">
          <ac:chgData name="Gerson" userId="6c4494c9-e300-475e-8570-19c96c3d8172" providerId="ADAL" clId="{D79A2BF3-94A2-4C37-B9BC-A6A77EA4B07A}" dt="2020-08-07T17:59:44.223" v="71" actId="108"/>
          <ac:spMkLst>
            <pc:docMk/>
            <pc:sldMk cId="220032209" sldId="344"/>
            <ac:spMk id="13" creationId="{4997F601-006F-4BC7-9604-88E30DA500D9}"/>
          </ac:spMkLst>
        </pc:spChg>
        <pc:spChg chg="del">
          <ac:chgData name="Gerson" userId="6c4494c9-e300-475e-8570-19c96c3d8172" providerId="ADAL" clId="{D79A2BF3-94A2-4C37-B9BC-A6A77EA4B07A}" dt="2020-08-07T17:59:21.835" v="58" actId="478"/>
          <ac:spMkLst>
            <pc:docMk/>
            <pc:sldMk cId="220032209" sldId="344"/>
            <ac:spMk id="19" creationId="{EA04D008-B1AB-4DD1-889C-7079A8EF0260}"/>
          </ac:spMkLst>
        </pc:spChg>
        <pc:spChg chg="del">
          <ac:chgData name="Gerson" userId="6c4494c9-e300-475e-8570-19c96c3d8172" providerId="ADAL" clId="{D79A2BF3-94A2-4C37-B9BC-A6A77EA4B07A}" dt="2020-08-07T17:59:23.292" v="59" actId="478"/>
          <ac:spMkLst>
            <pc:docMk/>
            <pc:sldMk cId="220032209" sldId="344"/>
            <ac:spMk id="20" creationId="{A5748D94-CA9A-4C22-AA62-310CEB4FAD29}"/>
          </ac:spMkLst>
        </pc:spChg>
        <pc:spChg chg="mod">
          <ac:chgData name="Gerson" userId="6c4494c9-e300-475e-8570-19c96c3d8172" providerId="ADAL" clId="{D79A2BF3-94A2-4C37-B9BC-A6A77EA4B07A}" dt="2020-08-07T17:59:56.376" v="79" actId="1037"/>
          <ac:spMkLst>
            <pc:docMk/>
            <pc:sldMk cId="220032209" sldId="344"/>
            <ac:spMk id="21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9:54.750" v="78" actId="1038"/>
          <ac:spMkLst>
            <pc:docMk/>
            <pc:sldMk cId="220032209" sldId="344"/>
            <ac:spMk id="22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9:44.223" v="71" actId="108"/>
          <ac:spMkLst>
            <pc:docMk/>
            <pc:sldMk cId="220032209" sldId="344"/>
            <ac:spMk id="35" creationId="{4997F601-006F-4BC7-9604-88E30DA500D9}"/>
          </ac:spMkLst>
        </pc:spChg>
      </pc:sldChg>
      <pc:sldChg chg="addSp delSp modSp mod">
        <pc:chgData name="Gerson" userId="6c4494c9-e300-475e-8570-19c96c3d8172" providerId="ADAL" clId="{D79A2BF3-94A2-4C37-B9BC-A6A77EA4B07A}" dt="2020-08-07T18:00:13.768" v="97"/>
        <pc:sldMkLst>
          <pc:docMk/>
          <pc:sldMk cId="2106379755" sldId="345"/>
        </pc:sldMkLst>
        <pc:spChg chg="add mod">
          <ac:chgData name="Gerson" userId="6c4494c9-e300-475e-8570-19c96c3d8172" providerId="ADAL" clId="{D79A2BF3-94A2-4C37-B9BC-A6A77EA4B07A}" dt="2020-08-07T17:59:11.908" v="57" actId="20577"/>
          <ac:spMkLst>
            <pc:docMk/>
            <pc:sldMk cId="2106379755" sldId="345"/>
            <ac:spMk id="2" creationId="{039DCBDD-8AE2-40E0-A72E-7CABDE0FB741}"/>
          </ac:spMkLst>
        </pc:spChg>
        <pc:spChg chg="mod">
          <ac:chgData name="Gerson" userId="6c4494c9-e300-475e-8570-19c96c3d8172" providerId="ADAL" clId="{D79A2BF3-94A2-4C37-B9BC-A6A77EA4B07A}" dt="2020-08-07T18:00:13.768" v="97"/>
          <ac:spMkLst>
            <pc:docMk/>
            <pc:sldMk cId="2106379755" sldId="345"/>
            <ac:spMk id="12" creationId="{00000000-0000-0000-0000-000000000000}"/>
          </ac:spMkLst>
        </pc:spChg>
        <pc:spChg chg="del">
          <ac:chgData name="Gerson" userId="6c4494c9-e300-475e-8570-19c96c3d8172" providerId="ADAL" clId="{D79A2BF3-94A2-4C37-B9BC-A6A77EA4B07A}" dt="2020-08-07T17:58:46.997" v="16" actId="478"/>
          <ac:spMkLst>
            <pc:docMk/>
            <pc:sldMk cId="2106379755" sldId="345"/>
            <ac:spMk id="17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39.140" v="10" actId="20577"/>
          <ac:spMkLst>
            <pc:docMk/>
            <pc:sldMk cId="2106379755" sldId="345"/>
            <ac:spMk id="19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43.435" v="15" actId="20577"/>
          <ac:spMkLst>
            <pc:docMk/>
            <pc:sldMk cId="2106379755" sldId="345"/>
            <ac:spMk id="20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53.276" v="22" actId="20577"/>
          <ac:spMkLst>
            <pc:docMk/>
            <pc:sldMk cId="2106379755" sldId="345"/>
            <ac:spMk id="23" creationId="{4997F601-006F-4BC7-9604-88E30DA500D9}"/>
          </ac:spMkLst>
        </pc:spChg>
        <pc:spChg chg="mod">
          <ac:chgData name="Gerson" userId="6c4494c9-e300-475e-8570-19c96c3d8172" providerId="ADAL" clId="{D79A2BF3-94A2-4C37-B9BC-A6A77EA4B07A}" dt="2020-08-07T17:58:57.671" v="27" actId="20577"/>
          <ac:spMkLst>
            <pc:docMk/>
            <pc:sldMk cId="2106379755" sldId="345"/>
            <ac:spMk id="24" creationId="{4997F601-006F-4BC7-9604-88E30DA500D9}"/>
          </ac:spMkLst>
        </pc:spChg>
        <pc:spChg chg="del">
          <ac:chgData name="Gerson" userId="6c4494c9-e300-475e-8570-19c96c3d8172" providerId="ADAL" clId="{D79A2BF3-94A2-4C37-B9BC-A6A77EA4B07A}" dt="2020-08-07T17:58:48.379" v="17" actId="478"/>
          <ac:spMkLst>
            <pc:docMk/>
            <pc:sldMk cId="2106379755" sldId="345"/>
            <ac:spMk id="35" creationId="{4997F601-006F-4BC7-9604-88E30DA500D9}"/>
          </ac:spMkLst>
        </pc:spChg>
      </pc:sldChg>
      <pc:sldChg chg="modSp mod">
        <pc:chgData name="Gerson" userId="6c4494c9-e300-475e-8570-19c96c3d8172" providerId="ADAL" clId="{D79A2BF3-94A2-4C37-B9BC-A6A77EA4B07A}" dt="2020-08-07T18:00:31.967" v="116" actId="20577"/>
        <pc:sldMkLst>
          <pc:docMk/>
          <pc:sldMk cId="4208443087" sldId="346"/>
        </pc:sldMkLst>
        <pc:spChg chg="mod">
          <ac:chgData name="Gerson" userId="6c4494c9-e300-475e-8570-19c96c3d8172" providerId="ADAL" clId="{D79A2BF3-94A2-4C37-B9BC-A6A77EA4B07A}" dt="2020-08-07T18:00:31.967" v="116" actId="20577"/>
          <ac:spMkLst>
            <pc:docMk/>
            <pc:sldMk cId="4208443087" sldId="346"/>
            <ac:spMk id="5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10/08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10/08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2149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3931064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GRUPO FLOW</a:t>
            </a:r>
          </a:p>
          <a:p>
            <a:pPr algn="just"/>
            <a:endParaRPr lang="pt-BR" sz="24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Beatriz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Oziel</a:t>
            </a: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 - 01201127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Fernando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Laurito</a:t>
            </a: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 - 01201029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Mariana França - 01201107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Michele Calazans - 01201060 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Rafael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Ciebra</a:t>
            </a: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 - 01201078</a:t>
            </a:r>
          </a:p>
          <a:p>
            <a:pPr>
              <a:lnSpc>
                <a:spcPct val="150000"/>
              </a:lnSpc>
            </a:pP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Romullo</a:t>
            </a: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 Pereira - 01201094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3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Atividade 01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Reunião de Retrospectiva da Sprint Passada (Grupos Antigos)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não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Plano de Ação para este semestre.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43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FLOW – REUNIÃO DE RETROSPECTIVA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809707" y="1692399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21405" y="110960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859208" y="1164713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998980" y="1164713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483273" y="220671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mplementação das APIs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812013" y="2181208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istanciamento do grupo (quarentena)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744241" y="2197085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im do projeto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27178" y="2197085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resentação das Sprints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483273" y="3468025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azos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170051" y="2181208"/>
            <a:ext cx="1789626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pa de calor funcionando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270847" y="2181207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ntualidade nas reuniões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29728" y="3447056"/>
            <a:ext cx="1652937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nsiedade antes das entregas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2942" y="6960227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F0E601C3-B4E0-4F3D-A47D-A2E3C8160A47}"/>
              </a:ext>
            </a:extLst>
          </p:cNvPr>
          <p:cNvSpPr/>
          <p:nvPr/>
        </p:nvSpPr>
        <p:spPr>
          <a:xfrm>
            <a:off x="9199251" y="3360538"/>
            <a:ext cx="1789626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rganização do time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3DA55587-AFC9-43BE-8215-B456FA1D03EC}"/>
              </a:ext>
            </a:extLst>
          </p:cNvPr>
          <p:cNvSpPr/>
          <p:nvPr/>
        </p:nvSpPr>
        <p:spPr>
          <a:xfrm>
            <a:off x="11370420" y="3369028"/>
            <a:ext cx="1789626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tegração do time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16255D5A-8AA5-4539-ABC9-2E787643E56B}"/>
              </a:ext>
            </a:extLst>
          </p:cNvPr>
          <p:cNvSpPr/>
          <p:nvPr/>
        </p:nvSpPr>
        <p:spPr>
          <a:xfrm>
            <a:off x="9236969" y="4562728"/>
            <a:ext cx="1789626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sign do projeto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C44AF93C-1F24-4CC7-8491-DCD51AB5A0AC}"/>
              </a:ext>
            </a:extLst>
          </p:cNvPr>
          <p:cNvSpPr/>
          <p:nvPr/>
        </p:nvSpPr>
        <p:spPr>
          <a:xfrm>
            <a:off x="2489563" y="4698051"/>
            <a:ext cx="1652937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totipação de telas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90654BBB-F649-4BBB-9E77-EE16035E2ED1}"/>
              </a:ext>
            </a:extLst>
          </p:cNvPr>
          <p:cNvSpPr/>
          <p:nvPr/>
        </p:nvSpPr>
        <p:spPr>
          <a:xfrm>
            <a:off x="11370420" y="4605158"/>
            <a:ext cx="1789626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sultado da sprint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13D01CC6-A48B-41CA-ABBC-A8EF2709CF17}"/>
              </a:ext>
            </a:extLst>
          </p:cNvPr>
          <p:cNvSpPr/>
          <p:nvPr/>
        </p:nvSpPr>
        <p:spPr>
          <a:xfrm>
            <a:off x="527178" y="4628775"/>
            <a:ext cx="1652937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udança de áreas no projeto</a:t>
            </a: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tângulo 20">
            <a:extLst>
              <a:ext uri="{FF2B5EF4-FFF2-40B4-BE49-F238E27FC236}">
                <a16:creationId xmlns:a16="http://schemas.microsoft.com/office/drawing/2014/main" id="{124E698C-FD9D-4C0C-A725-E3B699741472}"/>
              </a:ext>
            </a:extLst>
          </p:cNvPr>
          <p:cNvSpPr/>
          <p:nvPr/>
        </p:nvSpPr>
        <p:spPr>
          <a:xfrm>
            <a:off x="4782905" y="2008738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istanciamento do grupo (quarentena)</a:t>
            </a:r>
          </a:p>
        </p:txBody>
      </p:sp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FLOW – PLANO DE AÇÃO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" name="Conector reto 3"/>
          <p:cNvCxnSpPr>
            <a:cxnSpLocks/>
          </p:cNvCxnSpPr>
          <p:nvPr/>
        </p:nvCxnSpPr>
        <p:spPr>
          <a:xfrm>
            <a:off x="3985171" y="1220996"/>
            <a:ext cx="0" cy="623204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>
            <a:cxnSpLocks/>
          </p:cNvCxnSpPr>
          <p:nvPr/>
        </p:nvCxnSpPr>
        <p:spPr>
          <a:xfrm flipH="1">
            <a:off x="8610968" y="1220996"/>
            <a:ext cx="77466" cy="610503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300487" y="823439"/>
            <a:ext cx="102303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41291" y="848943"/>
            <a:ext cx="10631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10041807" y="765429"/>
            <a:ext cx="26822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389968" y="2131596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05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o máximo de contato (reuniões)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398EBD45-3CB6-4661-9111-B06292B2D05E}"/>
              </a:ext>
            </a:extLst>
          </p:cNvPr>
          <p:cNvSpPr/>
          <p:nvPr/>
        </p:nvSpPr>
        <p:spPr>
          <a:xfrm>
            <a:off x="4875455" y="3912162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im do projeto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7A3A133E-296D-4AB1-882B-0795CBC13DAE}"/>
              </a:ext>
            </a:extLst>
          </p:cNvPr>
          <p:cNvSpPr/>
          <p:nvPr/>
        </p:nvSpPr>
        <p:spPr>
          <a:xfrm>
            <a:off x="6435207" y="4078544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Levar as coisas boas que aconteceram e levar para o próximo grupo</a:t>
            </a: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EBA9BC8C-62E0-4748-8D41-9A99D328A86A}"/>
              </a:ext>
            </a:extLst>
          </p:cNvPr>
          <p:cNvSpPr/>
          <p:nvPr/>
        </p:nvSpPr>
        <p:spPr>
          <a:xfrm>
            <a:off x="360936" y="3120756"/>
            <a:ext cx="1652937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totipação de telas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7E11EC1D-330A-45BF-8CCF-967B3F4C562A}"/>
              </a:ext>
            </a:extLst>
          </p:cNvPr>
          <p:cNvSpPr/>
          <p:nvPr/>
        </p:nvSpPr>
        <p:spPr>
          <a:xfrm>
            <a:off x="370255" y="4682241"/>
            <a:ext cx="1652937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nsiedade antes das entregas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A05E3FBF-DF31-4447-8DB8-31AB625FE7F6}"/>
              </a:ext>
            </a:extLst>
          </p:cNvPr>
          <p:cNvSpPr/>
          <p:nvPr/>
        </p:nvSpPr>
        <p:spPr>
          <a:xfrm>
            <a:off x="395539" y="6332996"/>
            <a:ext cx="1652937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udança de áreas no projeto</a:t>
            </a: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A15896B3-471E-4306-8980-2D954F238100}"/>
              </a:ext>
            </a:extLst>
          </p:cNvPr>
          <p:cNvSpPr/>
          <p:nvPr/>
        </p:nvSpPr>
        <p:spPr>
          <a:xfrm>
            <a:off x="352404" y="1472557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mplementação das APIs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E2F4EA84-AB16-4D7E-9B61-F3E5C6ED4A32}"/>
              </a:ext>
            </a:extLst>
          </p:cNvPr>
          <p:cNvSpPr/>
          <p:nvPr/>
        </p:nvSpPr>
        <p:spPr>
          <a:xfrm>
            <a:off x="9513473" y="1934066"/>
            <a:ext cx="1789626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pa de calor funcionando</a:t>
            </a: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3C965986-6305-4B98-B745-4072E91E28A6}"/>
              </a:ext>
            </a:extLst>
          </p:cNvPr>
          <p:cNvSpPr/>
          <p:nvPr/>
        </p:nvSpPr>
        <p:spPr>
          <a:xfrm>
            <a:off x="9540431" y="3834531"/>
            <a:ext cx="1789626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sign do projeto</a:t>
            </a: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08023F26-5687-400C-B2B7-658DBE5D2754}"/>
              </a:ext>
            </a:extLst>
          </p:cNvPr>
          <p:cNvSpPr/>
          <p:nvPr/>
        </p:nvSpPr>
        <p:spPr>
          <a:xfrm>
            <a:off x="9634227" y="5544737"/>
            <a:ext cx="1789626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sultado da sprint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06E0BD94-389C-4239-BA94-3B512BFE22A3}"/>
              </a:ext>
            </a:extLst>
          </p:cNvPr>
          <p:cNvSpPr/>
          <p:nvPr/>
        </p:nvSpPr>
        <p:spPr>
          <a:xfrm>
            <a:off x="1958473" y="2931127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rganização das atividades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E772B83C-4DA6-46A9-8E2E-1D098066AD0A}"/>
              </a:ext>
            </a:extLst>
          </p:cNvPr>
          <p:cNvSpPr/>
          <p:nvPr/>
        </p:nvSpPr>
        <p:spPr>
          <a:xfrm>
            <a:off x="1959951" y="3683457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zer o necessário primeiro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9AFC10E6-8AD0-4038-A202-528F9626BB72}"/>
              </a:ext>
            </a:extLst>
          </p:cNvPr>
          <p:cNvSpPr/>
          <p:nvPr/>
        </p:nvSpPr>
        <p:spPr>
          <a:xfrm>
            <a:off x="1948868" y="4478481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dministrar melhor o tempo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37E68616-CE34-4536-AE0F-A5FDF1DD1095}"/>
              </a:ext>
            </a:extLst>
          </p:cNvPr>
          <p:cNvSpPr/>
          <p:nvPr/>
        </p:nvSpPr>
        <p:spPr>
          <a:xfrm>
            <a:off x="1962722" y="5268195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visão dos entregáveis 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1B35B1A5-49DF-4339-8BE8-389334875CF3}"/>
              </a:ext>
            </a:extLst>
          </p:cNvPr>
          <p:cNvSpPr/>
          <p:nvPr/>
        </p:nvSpPr>
        <p:spPr>
          <a:xfrm>
            <a:off x="1996689" y="6114878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esquisar mais sobre a área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D4FCB25A-4ACF-4203-94DE-34AEC581C2FF}"/>
              </a:ext>
            </a:extLst>
          </p:cNvPr>
          <p:cNvSpPr/>
          <p:nvPr/>
        </p:nvSpPr>
        <p:spPr>
          <a:xfrm>
            <a:off x="2010543" y="6904592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star engajado no projeto 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57470" y="1252036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studar mais sobre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49131" y="2041750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legar mais as atividade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05D35D78-BA13-4E2E-A679-E1468C834768}"/>
              </a:ext>
            </a:extLst>
          </p:cNvPr>
          <p:cNvSpPr/>
          <p:nvPr/>
        </p:nvSpPr>
        <p:spPr>
          <a:xfrm>
            <a:off x="11168654" y="1655633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rendizado e pesquisa sobre a API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3477CE2C-1BBA-4D12-8DA1-C9DEC3E042B1}"/>
              </a:ext>
            </a:extLst>
          </p:cNvPr>
          <p:cNvSpPr/>
          <p:nvPr/>
        </p:nvSpPr>
        <p:spPr>
          <a:xfrm>
            <a:off x="11182508" y="2445347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05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ngajamento e resiliência durante o processo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3E10D5C7-E550-47F9-A259-6B54663BED65}"/>
              </a:ext>
            </a:extLst>
          </p:cNvPr>
          <p:cNvSpPr/>
          <p:nvPr/>
        </p:nvSpPr>
        <p:spPr>
          <a:xfrm>
            <a:off x="11168654" y="3438175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esquisas de inspirações</a:t>
            </a:r>
          </a:p>
        </p:txBody>
      </p:sp>
      <p:sp>
        <p:nvSpPr>
          <p:cNvPr id="47" name="Retângulo 46">
            <a:extLst>
              <a:ext uri="{FF2B5EF4-FFF2-40B4-BE49-F238E27FC236}">
                <a16:creationId xmlns:a16="http://schemas.microsoft.com/office/drawing/2014/main" id="{FF6CAB2C-2D92-4837-8E48-06C96CEF6D1D}"/>
              </a:ext>
            </a:extLst>
          </p:cNvPr>
          <p:cNvSpPr/>
          <p:nvPr/>
        </p:nvSpPr>
        <p:spPr>
          <a:xfrm>
            <a:off x="11182508" y="4227889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sign com propósito </a:t>
            </a:r>
          </a:p>
        </p:txBody>
      </p:sp>
      <p:sp>
        <p:nvSpPr>
          <p:cNvPr id="48" name="Retângulo 47">
            <a:extLst>
              <a:ext uri="{FF2B5EF4-FFF2-40B4-BE49-F238E27FC236}">
                <a16:creationId xmlns:a16="http://schemas.microsoft.com/office/drawing/2014/main" id="{A145654D-72D7-4DFE-9271-D848D60DD0C9}"/>
              </a:ext>
            </a:extLst>
          </p:cNvPr>
          <p:cNvSpPr/>
          <p:nvPr/>
        </p:nvSpPr>
        <p:spPr>
          <a:xfrm>
            <a:off x="11217144" y="5224552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1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atisfação com os resultados obtidos</a:t>
            </a:r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id="{CA432BDA-F25C-4EB3-AB31-62B0FA556C28}"/>
              </a:ext>
            </a:extLst>
          </p:cNvPr>
          <p:cNvSpPr/>
          <p:nvPr/>
        </p:nvSpPr>
        <p:spPr>
          <a:xfrm>
            <a:off x="11230998" y="6014266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Harmonia do grupo</a:t>
            </a:r>
          </a:p>
        </p:txBody>
      </p:sp>
    </p:spTree>
    <p:extLst>
      <p:ext uri="{BB962C8B-B14F-4D97-AF65-F5344CB8AC3E}">
        <p14:creationId xmlns:p14="http://schemas.microsoft.com/office/powerpoint/2010/main" val="2106379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42</TotalTime>
  <Words>238</Words>
  <Application>Microsoft Office PowerPoint</Application>
  <PresentationFormat>Personalizar</PresentationFormat>
  <Paragraphs>69</Paragraphs>
  <Slides>5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5" baseType="lpstr">
      <vt:lpstr>Arial</vt:lpstr>
      <vt:lpstr>Calibri</vt:lpstr>
      <vt:lpstr>Exo 2</vt:lpstr>
      <vt:lpstr>MV Boli</vt:lpstr>
      <vt:lpstr>Simplon BP Medium</vt:lpstr>
      <vt:lpstr>Simplon BP Regular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MARIANA FRANÇA DE ARAUJO .</cp:lastModifiedBy>
  <cp:revision>194</cp:revision>
  <dcterms:created xsi:type="dcterms:W3CDTF">2016-12-01T16:19:35Z</dcterms:created>
  <dcterms:modified xsi:type="dcterms:W3CDTF">2020-08-11T18:42:54Z</dcterms:modified>
</cp:coreProperties>
</file>